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6"/>
  </p:notesMasterIdLst>
  <p:sldIdLst>
    <p:sldId id="366" r:id="rId2"/>
    <p:sldId id="367" r:id="rId3"/>
    <p:sldId id="369" r:id="rId4"/>
    <p:sldId id="368" r:id="rId5"/>
  </p:sldIdLst>
  <p:sldSz cx="12192000" cy="6858000"/>
  <p:notesSz cx="6858000" cy="9144000"/>
  <p:embeddedFontLst>
    <p:embeddedFont>
      <p:font typeface="Rubik" panose="00000500000000000000" pitchFamily="50" charset="-79"/>
      <p:regular r:id="rId7"/>
      <p:bold r:id="rId8"/>
      <p:italic r:id="rId9"/>
    </p:embeddedFont>
    <p:embeddedFont>
      <p:font typeface="Trebuchet MS" panose="020B0603020202020204" pitchFamily="34" charset="0"/>
      <p:regular r:id="rId10"/>
      <p:bold r:id="rId11"/>
      <p:italic r:id="rId12"/>
      <p:boldItalic r:id="rId13"/>
    </p:embeddedFont>
  </p:embeddedFontLst>
  <p:custDataLst>
    <p:tags r:id="rId14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3" d="100"/>
          <a:sy n="83" d="100"/>
        </p:scale>
        <p:origin x="686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3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BAF474D-C48B-47A3-AD43-776B973A4A1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You Need A Budget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Vaibhav Singal</a:t>
            </a:r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Need A Budget (YNAB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US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YNAB?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/>
              <a:t>You Need a Budget, or YNAB, is a popular paid budgeting app. While some budgeting apps only show people what they've already spent, You Need a Budget focuses on zero-based budgeting. The app teaches you to put all your money to use -- including using your money for expenses, paying off debt, and saving extra money.</a:t>
            </a:r>
          </a:p>
          <a:p>
            <a:r>
              <a:rPr lang="en-US" dirty="0"/>
              <a:t>YNAB offers an API which is REST based, uses the JSON data format and is secured with HTTPS. You can use it to build a personal application to interact with your own budget or build an application that any other </a:t>
            </a:r>
            <a:r>
              <a:rPr lang="en-US" dirty="0" err="1"/>
              <a:t>YNABer</a:t>
            </a:r>
            <a:r>
              <a:rPr lang="en-US" dirty="0"/>
              <a:t> can authorize and use. API resources require a valid access token for authentication. There are two ways to obtain access tokens: Personal Access Tokens and OAuth Applications. </a:t>
            </a:r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84F1E7-FE8C-4344-8489-97975D193B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279" y="639838"/>
            <a:ext cx="10859441" cy="5578323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AE86058-5B0B-4E67-8EA7-F5F14A4576F9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48</Words>
  <Application>Microsoft Office PowerPoint</Application>
  <PresentationFormat>Widescreen</PresentationFormat>
  <Paragraphs>19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Symbol</vt:lpstr>
      <vt:lpstr>Rubik</vt:lpstr>
      <vt:lpstr>Trebuchet MS</vt:lpstr>
      <vt:lpstr>Wingdings</vt:lpstr>
      <vt:lpstr>Software AG 2021</vt:lpstr>
      <vt:lpstr>You Need A Budget Provider</vt:lpstr>
      <vt:lpstr>You Need A Budget (YNAB)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Singal, Vaibhav</cp:lastModifiedBy>
  <cp:revision>4</cp:revision>
  <dcterms:created xsi:type="dcterms:W3CDTF">2022-01-10T12:32:13Z</dcterms:created>
  <dcterms:modified xsi:type="dcterms:W3CDTF">2022-01-31T05:33:21Z</dcterms:modified>
</cp:coreProperties>
</file>